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20"/>
  </p:notesMasterIdLst>
  <p:handoutMasterIdLst>
    <p:handoutMasterId r:id="rId21"/>
  </p:handoutMasterIdLst>
  <p:sldIdLst>
    <p:sldId id="321" r:id="rId4"/>
    <p:sldId id="330" r:id="rId5"/>
    <p:sldId id="290" r:id="rId6"/>
    <p:sldId id="331" r:id="rId7"/>
    <p:sldId id="333" r:id="rId8"/>
    <p:sldId id="332" r:id="rId9"/>
    <p:sldId id="334" r:id="rId10"/>
    <p:sldId id="339" r:id="rId11"/>
    <p:sldId id="340" r:id="rId12"/>
    <p:sldId id="341" r:id="rId13"/>
    <p:sldId id="342" r:id="rId14"/>
    <p:sldId id="335" r:id="rId15"/>
    <p:sldId id="336" r:id="rId16"/>
    <p:sldId id="337" r:id="rId17"/>
    <p:sldId id="338" r:id="rId18"/>
    <p:sldId id="343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333"/>
            <p14:sldId id="332"/>
            <p14:sldId id="334"/>
            <p14:sldId id="339"/>
            <p14:sldId id="340"/>
            <p14:sldId id="341"/>
            <p14:sldId id="342"/>
            <p14:sldId id="335"/>
            <p14:sldId id="336"/>
            <p14:sldId id="337"/>
            <p14:sldId id="338"/>
            <p14:sldId id="34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1187" autoAdjust="0"/>
  </p:normalViewPr>
  <p:slideViewPr>
    <p:cSldViewPr snapToGrid="0" snapToObjects="1" showGuides="1">
      <p:cViewPr>
        <p:scale>
          <a:sx n="75" d="100"/>
          <a:sy n="75" d="100"/>
        </p:scale>
        <p:origin x="1872" y="558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4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4.09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478342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603227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452328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441503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504843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827678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343436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012671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044280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021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E7985-D05A-D411-863C-74F6A1A47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 UI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EEB8C0-5645-87B9-584A-161C06B31A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360" y="1098550"/>
            <a:ext cx="5195428" cy="34636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1B998A5-5D34-D19E-D42E-0AD00C19E1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0450" y="1098550"/>
            <a:ext cx="4344190" cy="5246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8279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E7985-D05A-D411-863C-74F6A1A47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 UI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51FB2DD-BDEC-E7E9-2E55-F09C2573AE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625" y="1098550"/>
            <a:ext cx="4352926" cy="531478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F69CBB-AC8D-CBA1-16A9-520735D456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5066" y="1098551"/>
            <a:ext cx="5678309" cy="5314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9446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E7985-D05A-D411-863C-74F6A1A47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ot Password UI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54274E8-0145-EBF0-AEE8-ACF1A7EA65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9" y="1098551"/>
            <a:ext cx="4006651" cy="531709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54FEC8F-BC1E-E567-BE2D-B031E71B74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8044" y="1098000"/>
            <a:ext cx="5153744" cy="365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8181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E7985-D05A-D411-863C-74F6A1A47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ot Password UI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10A2F9B-9B1B-2D68-4625-36CD67D742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625" y="1107527"/>
            <a:ext cx="5106113" cy="364858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1ABC9CF-CAFB-85C6-A139-CEF2CAC490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57264" y="1098000"/>
            <a:ext cx="5115639" cy="422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2253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E7985-D05A-D411-863C-74F6A1A47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ot Password UI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113BFA-688A-B710-6BFB-8C3B48863D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625" y="1098550"/>
            <a:ext cx="5706271" cy="493463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0DF5553-AC7F-AFA5-7ECC-028222E94F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9465" y="1098000"/>
            <a:ext cx="5182323" cy="3667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7465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E7985-D05A-D411-863C-74F6A1A47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got Password UI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E12CBF8-E6D6-2167-47B7-5A7ACF01FB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625" y="1117052"/>
            <a:ext cx="5115639" cy="36295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8CC322C-C9ED-004D-4746-4E4D3BE79C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3517" y="1117052"/>
            <a:ext cx="5469858" cy="3629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9612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09969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bv Software Services AG  |  </a:t>
            </a:r>
            <a:r>
              <a:rPr lang="en-CH" dirty="0"/>
              <a:t>Dat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pp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bbv Software Services AG  |  </a:t>
            </a:r>
            <a:r>
              <a:rPr lang="en-CH" noProof="0" dirty="0"/>
              <a:t>Date</a:t>
            </a:r>
            <a:endParaRPr lang="en-GB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noProof="0" dirty="0"/>
              <a:t>Authentication of Inflow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Inflow Screens</a:t>
            </a:r>
          </a:p>
          <a:p>
            <a:r>
              <a:rPr lang="en-GB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E7985-D05A-D411-863C-74F6A1A47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In UI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909852-B61A-AB62-022B-56A2789A3F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999" y="1098550"/>
            <a:ext cx="5125165" cy="536332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053D725-2898-F910-7E30-589C1CD4F2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5783" y="1108076"/>
            <a:ext cx="5144218" cy="5353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2243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E7985-D05A-D411-863C-74F6A1A47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In UI – Wrong Passwor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C87DBF-BCA4-774C-444C-367E0D7276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000" y="1098550"/>
            <a:ext cx="4065058" cy="53292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19E022F-532F-5D15-F00A-57912CAD2E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7714" y="1098551"/>
            <a:ext cx="3924074" cy="5343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2457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E7985-D05A-D411-863C-74F6A1A47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In UI - Correct Passwor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431696-5D7A-9208-7DA4-743FC63154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6875" y="1098550"/>
            <a:ext cx="6283125" cy="53623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54274E8-0145-EBF0-AEE8-ACF1A7EA65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999" y="1098551"/>
            <a:ext cx="4006651" cy="5317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6703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E7985-D05A-D411-863C-74F6A1A47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 UI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03464A-1074-3ED1-B92A-3D92CF67DE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9" y="1117052"/>
            <a:ext cx="4547120" cy="48412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A2F3EC8-F636-8AC8-CC48-CB183B2ED5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8306" y="1098550"/>
            <a:ext cx="5963482" cy="3724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9348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E7985-D05A-D411-863C-74F6A1A47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 UI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36AE82-1BAB-B641-0753-1C85CA1B58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9" y="1098000"/>
            <a:ext cx="4779098" cy="30722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79A0C8F-654B-143B-CAC9-E4111FEA26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2916" y="1098550"/>
            <a:ext cx="4897085" cy="333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5392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96</TotalTime>
  <Words>76</Words>
  <Application>Microsoft Office PowerPoint</Application>
  <PresentationFormat>Widescreen</PresentationFormat>
  <Paragraphs>32</Paragraphs>
  <Slides>16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bbv template EN</vt:lpstr>
      <vt:lpstr>think-cell Slide</vt:lpstr>
      <vt:lpstr>PowerPoint Presentation</vt:lpstr>
      <vt:lpstr>Ypp 4</vt:lpstr>
      <vt:lpstr>Authentication of Inflow</vt:lpstr>
      <vt:lpstr>Agenda</vt:lpstr>
      <vt:lpstr>Sign In UI</vt:lpstr>
      <vt:lpstr>Sign In UI – Wrong Password</vt:lpstr>
      <vt:lpstr>Sign In UI - Correct Password</vt:lpstr>
      <vt:lpstr>Sign Up UI</vt:lpstr>
      <vt:lpstr>Sign Up UI</vt:lpstr>
      <vt:lpstr>Sign Up UI</vt:lpstr>
      <vt:lpstr>Sign Up UI</vt:lpstr>
      <vt:lpstr>Forgot Password UI</vt:lpstr>
      <vt:lpstr>Forgot Password UI</vt:lpstr>
      <vt:lpstr>Forgot Password UI</vt:lpstr>
      <vt:lpstr>Forgot Password UI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Đăng Khoa Đỗ</cp:lastModifiedBy>
  <cp:revision>12</cp:revision>
  <dcterms:created xsi:type="dcterms:W3CDTF">2025-07-10T03:51:23Z</dcterms:created>
  <dcterms:modified xsi:type="dcterms:W3CDTF">2025-09-04T08:31:50Z</dcterms:modified>
</cp:coreProperties>
</file>